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3"/>
  </p:notesMasterIdLst>
  <p:handoutMasterIdLst>
    <p:handoutMasterId r:id="rId14"/>
  </p:handoutMasterIdLst>
  <p:sldIdLst>
    <p:sldId id="311" r:id="rId4"/>
    <p:sldId id="340" r:id="rId5"/>
    <p:sldId id="366" r:id="rId6"/>
    <p:sldId id="372" r:id="rId7"/>
    <p:sldId id="373" r:id="rId8"/>
    <p:sldId id="375" r:id="rId9"/>
    <p:sldId id="376" r:id="rId10"/>
    <p:sldId id="329" r:id="rId11"/>
    <p:sldId id="349" r:id="rId12"/>
  </p:sldIdLst>
  <p:sldSz cx="9906000" cy="6858000" type="A4"/>
  <p:notesSz cx="6896100" cy="10033000"/>
  <p:custDataLst>
    <p:tags r:id="rId15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 varScale="1">
        <p:scale>
          <a:sx n="83" d="100"/>
          <a:sy n="83" d="100"/>
        </p:scale>
        <p:origin x="-1464" y="-62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/27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2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Excercise2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60.xml"/><Relationship Id="rId7" Type="http://schemas.openxmlformats.org/officeDocument/2006/relationships/image" Target="../media/image1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0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9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2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4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3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8.png"/><Relationship Id="rId2" Type="http://schemas.openxmlformats.org/officeDocument/2006/relationships/tags" Target="../tags/tag6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7.pn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1.png"/><Relationship Id="rId2" Type="http://schemas.openxmlformats.org/officeDocument/2006/relationships/tags" Target="../tags/tag6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0.png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8.vml"/><Relationship Id="rId4" Type="http://schemas.openxmlformats.org/officeDocument/2006/relationships/oleObject" Target="../embeddings/oleObject2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690" y="1844780"/>
            <a:ext cx="9906000" cy="1944270"/>
          </a:xfrm>
        </p:spPr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</a:t>
            </a:r>
            <a:r>
              <a:rPr lang="en-US" sz="4400" dirty="0" err="1" smtClean="0">
                <a:effectLst/>
                <a:latin typeface="Comic Sans MS"/>
              </a:rPr>
              <a:t>Zadanie</a:t>
            </a:r>
            <a:r>
              <a:rPr lang="en-US" sz="4400" dirty="0" smtClean="0">
                <a:effectLst/>
                <a:latin typeface="Comic Sans MS"/>
              </a:rPr>
              <a:t> 2</a:t>
            </a:r>
            <a:endParaRPr lang="en-GB" dirty="0"/>
          </a:p>
        </p:txBody>
      </p:sp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72350" y="5373270"/>
            <a:ext cx="3024420" cy="1017562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939345" y="4365130"/>
            <a:ext cx="1838325" cy="1828800"/>
          </a:xfrm>
          <a:prstGeom prst="rect">
            <a:avLst/>
          </a:prstGeom>
          <a:noFill/>
        </p:spPr>
      </p:pic>
      <p:sp>
        <p:nvSpPr>
          <p:cNvPr id="11" name="Title 9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5690" y="2276840"/>
            <a:ext cx="9906000" cy="1944270"/>
          </a:xfrm>
          <a:prstGeom prst="rect">
            <a:avLst/>
          </a:prstGeom>
        </p:spPr>
        <p:txBody>
          <a:bodyPr vert="horz" lIns="36000" tIns="36000" rIns="360000" bIns="36000" rtlCol="0" anchor="ctr">
            <a:noAutofit/>
          </a:bodyPr>
          <a:lstStyle/>
          <a:p>
            <a:pPr marL="0" marR="0" lvl="0" indent="0" algn="l" defTabSz="9956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      </a:t>
            </a:r>
            <a:r>
              <a:rPr kumimoji="0" lang="de-DE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Interakcja</a:t>
            </a:r>
            <a:r>
              <a:rPr kumimoji="0" lang="de-DE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z</a:t>
            </a:r>
            <a:r>
              <a:rPr kumimoji="0" lang="de-DE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</a:t>
            </a:r>
            <a:r>
              <a:rPr kumimoji="0" lang="de-DE" sz="2800" b="0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innymi</a:t>
            </a:r>
            <a:r>
              <a:rPr kumimoji="0" lang="de-DE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</a:t>
            </a:r>
            <a:r>
              <a:rPr kumimoji="0" lang="de-DE" sz="2800" b="0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elementami</a:t>
            </a:r>
            <a:r>
              <a:rPr kumimoji="0" lang="de-DE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omic Sans MS" pitchFamily="66" charset="0"/>
              <a:ea typeface="+mj-ea"/>
              <a:cs typeface="+mj-cs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Wskazówki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921728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konaj wszystkie ćwiczenia krok po kroku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ćwiczeniach możesz posiłkować się w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y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rukowanymi kartami (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cratc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rd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eśli potrzebujesz pomocy, poproś prowadzącego.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6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160890" y="486920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0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1. Ułóż labirynt z klocków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74890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twórz nowego duszka wybierając przycisk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Paint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new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sprit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 Nazwij go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Labirynt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importuj grafikę z klockami przyciskiem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Upload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ostume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from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file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i wybierz plik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level1.sv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żesz w dowolny sposób poukładać klocki (możliwe po wcześniejszym zaznaczeniu klocków i wciśnięciu przycisku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Ungroup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 flipH="1">
            <a:off x="8908082" y="1556740"/>
            <a:ext cx="5468" cy="36005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4019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33400" y="1916790"/>
            <a:ext cx="16859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20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65460" y="2708900"/>
            <a:ext cx="9525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Straight Arrow Connector 15"/>
          <p:cNvCxnSpPr/>
          <p:nvPr/>
        </p:nvCxnSpPr>
        <p:spPr>
          <a:xfrm flipH="1">
            <a:off x="8822870" y="2492870"/>
            <a:ext cx="5468" cy="36005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625510" y="4293120"/>
            <a:ext cx="542925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" name="Straight Arrow Connector 17"/>
          <p:cNvCxnSpPr/>
          <p:nvPr/>
        </p:nvCxnSpPr>
        <p:spPr>
          <a:xfrm flipH="1">
            <a:off x="9129580" y="5013220"/>
            <a:ext cx="360050" cy="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14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1. Ułóż labirynt z klocków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776420" y="5445280"/>
            <a:ext cx="7489040" cy="50407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óbuj poruszać kotem. Przechodzi przez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ściany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?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3142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856570" y="1268700"/>
            <a:ext cx="5328740" cy="4000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34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2. Zablokuj przechodzenie przez ściany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znacz duszka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a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Event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na panelu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Script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wybierz              (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hcemy,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aby skrypt się uruchomił po kliknięciu zielonej flagi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ontrol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wybierz blok           (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hcemy,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aby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akieś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lecenie wykonywało się cały cza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ewnątrz poprzedniego bloku dodaj blok             (chcemy sprawdzić jakiś warunek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33477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889130" y="2276840"/>
            <a:ext cx="1080150" cy="4725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3478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016870" y="3429000"/>
            <a:ext cx="829777" cy="504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3479" name="Picture 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681240" y="4581160"/>
            <a:ext cx="10763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3480" name="Picture 8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673100" y="5373270"/>
            <a:ext cx="1266825" cy="138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552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2. Zablokuj przechodzenie przez ściany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7277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 grupy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Sensorin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przeciągnij blok             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liknij strzałkę obok słowa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touchin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i wybierz Labirynt  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zeciągnij blok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touchin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i upuść go na poprzednim bloku za słowem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if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(będziemy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awdzać,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zy nasz kotek dotknął dowolny element labiryntu)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34501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745110" y="1861930"/>
            <a:ext cx="108585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4504" name="Picture 8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481490" y="2715930"/>
            <a:ext cx="1314135" cy="281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523" name="Picture 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880990" y="4797190"/>
            <a:ext cx="2390775" cy="138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06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2. Zablokuj przechodzenie przez ściany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2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7277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 grupy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tion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przeciągnij blok               do środka bloku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if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Zmień wartość na -10 (kotek po dotknięciu elementu labiryntu cofnie się 10 kroków do tyłu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 </a:t>
            </a:r>
            <a:r>
              <a:rPr lang="de-DE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likni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ęciu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zielonej flagi poruszaj kotkiem. Jak zachowuje się teraz?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óbuj dodać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źwięk,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gdy kot dotyka labiryntu.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40643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313050" y="1844780"/>
            <a:ext cx="11715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06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728830" y="3025540"/>
            <a:ext cx="2457450" cy="177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2</Words>
  <Application>Microsoft Office PowerPoint</Application>
  <PresentationFormat>A4 Paper (210x297 mm)</PresentationFormat>
  <Paragraphs>51</Paragraphs>
  <Slides>9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Blank</vt:lpstr>
      <vt:lpstr>Closing slides</vt:lpstr>
      <vt:lpstr>Section break</vt:lpstr>
      <vt:lpstr>think-cell Slide</vt:lpstr>
      <vt:lpstr>       Zadanie 2</vt:lpstr>
      <vt:lpstr>Wskazówki</vt:lpstr>
      <vt:lpstr>Krok 1. Ułóż labirynt z klocków</vt:lpstr>
      <vt:lpstr>Krok 1. Ułóż labirynt z klocków</vt:lpstr>
      <vt:lpstr>Krok 2. Zablokuj przechodzenie przez ściany</vt:lpstr>
      <vt:lpstr>Krok 2. Zablokuj przechodzenie przez ściany</vt:lpstr>
      <vt:lpstr>Krok 2. Zablokuj przechodzenie przez ściany</vt:lpstr>
      <vt:lpstr>Slide 8</vt:lpstr>
      <vt:lpstr>Slide 9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ZPACHOLC</cp:lastModifiedBy>
  <cp:revision>142</cp:revision>
  <dcterms:created xsi:type="dcterms:W3CDTF">2014-10-21T19:55:20Z</dcterms:created>
  <dcterms:modified xsi:type="dcterms:W3CDTF">2015-01-27T18:33:17Z</dcterms:modified>
</cp:coreProperties>
</file>